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256" r:id="rId2"/>
    <p:sldId id="261" r:id="rId3"/>
    <p:sldId id="258" r:id="rId4"/>
    <p:sldId id="257" r:id="rId5"/>
    <p:sldId id="259" r:id="rId6"/>
    <p:sldId id="260" r:id="rId7"/>
  </p:sldIdLst>
  <p:sldSz cx="9144000" cy="6858000" type="letter"/>
  <p:notesSz cx="7023100" cy="93091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72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Qianmeng Li" initials="QL" lastIdx="1" clrIdx="0">
    <p:extLst>
      <p:ext uri="{19B8F6BF-5375-455C-9EA6-DF929625EA0E}">
        <p15:presenceInfo xmlns:p15="http://schemas.microsoft.com/office/powerpoint/2012/main" userId="S-1-5-21-2808680614-1317938522-479626105-41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7DBB"/>
    <a:srgbClr val="431D60"/>
    <a:srgbClr val="833F10"/>
    <a:srgbClr val="997300"/>
    <a:srgbClr val="588825"/>
    <a:srgbClr val="006A90"/>
    <a:srgbClr val="0B314A"/>
    <a:srgbClr val="7030A0"/>
    <a:srgbClr val="DB691B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96" autoAdjust="0"/>
    <p:restoredTop sz="93668" autoAdjust="0"/>
  </p:normalViewPr>
  <p:slideViewPr>
    <p:cSldViewPr>
      <p:cViewPr varScale="1">
        <p:scale>
          <a:sx n="110" d="100"/>
          <a:sy n="110" d="100"/>
        </p:scale>
        <p:origin x="804" y="114"/>
      </p:cViewPr>
      <p:guideLst>
        <p:guide orient="horz" pos="4272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8" d="100"/>
          <a:sy n="88" d="100"/>
        </p:scale>
        <p:origin x="382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560970297172644"/>
          <c:y val="1.6521243112615273E-2"/>
          <c:w val="0.36163288099625845"/>
          <c:h val="0.663489463025945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6</c:f>
              <c:strCache>
                <c:ptCount val="5"/>
                <c:pt idx="0">
                  <c:v>Under 5 years</c:v>
                </c:pt>
                <c:pt idx="1">
                  <c:v>5 t0 19 years</c:v>
                </c:pt>
                <c:pt idx="2">
                  <c:v>20 to 39 years</c:v>
                </c:pt>
                <c:pt idx="3">
                  <c:v>40 to 64 years</c:v>
                </c:pt>
                <c:pt idx="4">
                  <c:v>65 years and over</c:v>
                </c:pt>
              </c:strCache>
            </c:strRef>
          </c:cat>
          <c:val>
            <c:numRef>
              <c:f>Sheet1!$B$2:$B$6</c:f>
              <c:numCache>
                <c:formatCode>0.00%</c:formatCode>
                <c:ptCount val="5"/>
                <c:pt idx="0">
                  <c:v>6.3E-2</c:v>
                </c:pt>
                <c:pt idx="1">
                  <c:v>0.18</c:v>
                </c:pt>
                <c:pt idx="2">
                  <c:v>0.41799999999999998</c:v>
                </c:pt>
                <c:pt idx="3">
                  <c:v>0.255</c:v>
                </c:pt>
                <c:pt idx="4">
                  <c:v>8.3000000000000004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772284969223329"/>
          <c:y val="3.8836731288549212E-2"/>
          <c:w val="0.1933181041696338"/>
          <c:h val="0.631946341065561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YC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8</c:f>
              <c:strCache>
                <c:ptCount val="7"/>
                <c:pt idx="0">
                  <c:v>Less than 9th grade</c:v>
                </c:pt>
                <c:pt idx="1">
                  <c:v>9th to 12th grade, no diploma</c:v>
                </c:pt>
                <c:pt idx="2">
                  <c:v>High school graduate (includes equivalency)</c:v>
                </c:pt>
                <c:pt idx="3">
                  <c:v>Some college, no degree</c:v>
                </c:pt>
                <c:pt idx="4">
                  <c:v>Associate's degree</c:v>
                </c:pt>
                <c:pt idx="5">
                  <c:v>Bachelor's degree</c:v>
                </c:pt>
                <c:pt idx="6">
                  <c:v>Graduate or professional degree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7"/>
                <c:pt idx="0">
                  <c:v>9.9000000000000005E-2</c:v>
                </c:pt>
                <c:pt idx="1">
                  <c:v>0.10100000000000001</c:v>
                </c:pt>
                <c:pt idx="2">
                  <c:v>0.25800000000000001</c:v>
                </c:pt>
                <c:pt idx="3">
                  <c:v>0.13900000000000001</c:v>
                </c:pt>
                <c:pt idx="4">
                  <c:v>6.2E-2</c:v>
                </c:pt>
                <c:pt idx="5">
                  <c:v>0.20699999999999999</c:v>
                </c:pt>
                <c:pt idx="6">
                  <c:v>0.134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54947337913908E-2"/>
          <c:y val="7.3259466965020545E-2"/>
          <c:w val="0.80884427545768256"/>
          <c:h val="0.7429903655589176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14</c:f>
              <c:strCache>
                <c:ptCount val="13"/>
                <c:pt idx="0">
                  <c:v>Educational services, and health care and social assistance</c:v>
                </c:pt>
                <c:pt idx="1">
                  <c:v>Arts, entertainment, and recreation, and accommodation, and food services</c:v>
                </c:pt>
                <c:pt idx="2">
                  <c:v>Retail trade</c:v>
                </c:pt>
                <c:pt idx="3">
                  <c:v>Professional, scientific, and management, and administrative and waste management services</c:v>
                </c:pt>
                <c:pt idx="4">
                  <c:v>Construction</c:v>
                </c:pt>
                <c:pt idx="5">
                  <c:v>Other services, except public administration</c:v>
                </c:pt>
                <c:pt idx="6">
                  <c:v>Transportation and warehousing, and utilities</c:v>
                </c:pt>
                <c:pt idx="7">
                  <c:v>Information</c:v>
                </c:pt>
                <c:pt idx="8">
                  <c:v>Manufacturing</c:v>
                </c:pt>
                <c:pt idx="9">
                  <c:v>Finance and insurance, and real estate and rental and leasing</c:v>
                </c:pt>
                <c:pt idx="10">
                  <c:v>Public administration</c:v>
                </c:pt>
                <c:pt idx="11">
                  <c:v>Wholesale trade</c:v>
                </c:pt>
                <c:pt idx="12">
                  <c:v>Agriculture, forestry, fishing and hunting, and mining</c:v>
                </c:pt>
              </c:strCache>
            </c:strRef>
          </c:cat>
          <c:val>
            <c:numRef>
              <c:f>Sheet1!$B$2:$B$14</c:f>
              <c:numCache>
                <c:formatCode>0.00%</c:formatCode>
                <c:ptCount val="13"/>
                <c:pt idx="0">
                  <c:v>0.20799999999999999</c:v>
                </c:pt>
                <c:pt idx="1">
                  <c:v>0.153</c:v>
                </c:pt>
                <c:pt idx="2">
                  <c:v>0.126</c:v>
                </c:pt>
                <c:pt idx="3">
                  <c:v>0.125</c:v>
                </c:pt>
                <c:pt idx="4">
                  <c:v>8.2000000000000003E-2</c:v>
                </c:pt>
                <c:pt idx="5">
                  <c:v>5.8999999999999997E-2</c:v>
                </c:pt>
                <c:pt idx="6">
                  <c:v>5.2999999999999999E-2</c:v>
                </c:pt>
                <c:pt idx="7">
                  <c:v>5.0999999999999997E-2</c:v>
                </c:pt>
                <c:pt idx="8">
                  <c:v>4.8000000000000001E-2</c:v>
                </c:pt>
                <c:pt idx="9">
                  <c:v>4.7E-2</c:v>
                </c:pt>
                <c:pt idx="10">
                  <c:v>2.4E-2</c:v>
                </c:pt>
                <c:pt idx="11">
                  <c:v>2.1000000000000001E-2</c:v>
                </c:pt>
                <c:pt idx="12">
                  <c:v>3.0000000000000001E-3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/>
              <a:t>NYC</a:t>
            </a:r>
            <a:endParaRPr lang="en-US" dirty="0"/>
          </a:p>
        </c:rich>
      </c:tx>
      <c:layout>
        <c:manualLayout>
          <c:xMode val="edge"/>
          <c:yMode val="edge"/>
          <c:x val="0.77322916666666663"/>
          <c:y val="0.493750000000000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14</c:f>
              <c:strCache>
                <c:ptCount val="13"/>
                <c:pt idx="0">
                  <c:v>Educational services, and health care and social assistance</c:v>
                </c:pt>
                <c:pt idx="1">
                  <c:v>Arts, entertainment, and recreation, and accommodation, and food services</c:v>
                </c:pt>
                <c:pt idx="2">
                  <c:v>Retail trade</c:v>
                </c:pt>
                <c:pt idx="3">
                  <c:v>Professional, scientific, and management, and administrative and waste management services</c:v>
                </c:pt>
                <c:pt idx="4">
                  <c:v>Construction</c:v>
                </c:pt>
                <c:pt idx="5">
                  <c:v>Other services, except public administration</c:v>
                </c:pt>
                <c:pt idx="6">
                  <c:v>Transportation and warehousing, and utilities</c:v>
                </c:pt>
                <c:pt idx="7">
                  <c:v>Information</c:v>
                </c:pt>
                <c:pt idx="8">
                  <c:v>Manufacturing</c:v>
                </c:pt>
                <c:pt idx="9">
                  <c:v>Finance and insurance, and real estate and rental and leasing</c:v>
                </c:pt>
                <c:pt idx="10">
                  <c:v>Public administration</c:v>
                </c:pt>
                <c:pt idx="11">
                  <c:v>Wholesale trade</c:v>
                </c:pt>
                <c:pt idx="12">
                  <c:v>Agriculture, forestry, fishing and hunting, and mining</c:v>
                </c:pt>
              </c:strCache>
            </c:strRef>
          </c:cat>
          <c:val>
            <c:numRef>
              <c:f>Sheet1!$B$2:$B$14</c:f>
              <c:numCache>
                <c:formatCode>0.00%</c:formatCode>
                <c:ptCount val="13"/>
                <c:pt idx="0">
                  <c:v>0.26400000000000001</c:v>
                </c:pt>
                <c:pt idx="1">
                  <c:v>0.11</c:v>
                </c:pt>
                <c:pt idx="2">
                  <c:v>9.8000000000000004E-2</c:v>
                </c:pt>
                <c:pt idx="3">
                  <c:v>0.13300000000000001</c:v>
                </c:pt>
                <c:pt idx="4">
                  <c:v>4.9000000000000002E-2</c:v>
                </c:pt>
                <c:pt idx="5">
                  <c:v>5.5E-2</c:v>
                </c:pt>
                <c:pt idx="6">
                  <c:v>0.06</c:v>
                </c:pt>
                <c:pt idx="7">
                  <c:v>3.7999999999999999E-2</c:v>
                </c:pt>
                <c:pt idx="8">
                  <c:v>3.5999999999999997E-2</c:v>
                </c:pt>
                <c:pt idx="9">
                  <c:v>9.7000000000000003E-2</c:v>
                </c:pt>
                <c:pt idx="10">
                  <c:v>3.6999999999999998E-2</c:v>
                </c:pt>
                <c:pt idx="11">
                  <c:v>2.1999999999999999E-2</c:v>
                </c:pt>
                <c:pt idx="12">
                  <c:v>1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54947337913908E-2"/>
          <c:y val="7.3259466965020545E-2"/>
          <c:w val="0.80884427545768256"/>
          <c:h val="0.7429903655589176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14</c:f>
              <c:strCache>
                <c:ptCount val="10"/>
                <c:pt idx="0">
                  <c:v>Household income of less than $10,000</c:v>
                </c:pt>
                <c:pt idx="1">
                  <c:v>$10,000 to $14,999</c:v>
                </c:pt>
                <c:pt idx="2">
                  <c:v>$15,000 to $24,999</c:v>
                </c:pt>
                <c:pt idx="3">
                  <c:v>$25,000 to $34,999</c:v>
                </c:pt>
                <c:pt idx="4">
                  <c:v>$35,000 to $49,999</c:v>
                </c:pt>
                <c:pt idx="5">
                  <c:v>$50,000 to $74,999</c:v>
                </c:pt>
                <c:pt idx="6">
                  <c:v>$75,000 to $99,999</c:v>
                </c:pt>
                <c:pt idx="7">
                  <c:v>$100,000 to $149,999</c:v>
                </c:pt>
                <c:pt idx="8">
                  <c:v>$150,000 to $199,999</c:v>
                </c:pt>
                <c:pt idx="9">
                  <c:v>$200,000 or more</c:v>
                </c:pt>
              </c:strCache>
            </c:strRef>
          </c:cat>
          <c:val>
            <c:numRef>
              <c:f>Sheet1!$B$2:$B$14</c:f>
              <c:numCache>
                <c:formatCode>0.00%</c:formatCode>
                <c:ptCount val="13"/>
                <c:pt idx="0">
                  <c:v>0.14199999999999999</c:v>
                </c:pt>
                <c:pt idx="1">
                  <c:v>7.8E-2</c:v>
                </c:pt>
                <c:pt idx="2">
                  <c:v>0.124</c:v>
                </c:pt>
                <c:pt idx="3">
                  <c:v>8.7999999999999995E-2</c:v>
                </c:pt>
                <c:pt idx="4">
                  <c:v>0.128</c:v>
                </c:pt>
                <c:pt idx="5">
                  <c:v>0.16500000000000001</c:v>
                </c:pt>
                <c:pt idx="6">
                  <c:v>0.10100000000000001</c:v>
                </c:pt>
                <c:pt idx="7">
                  <c:v>0.11600000000000001</c:v>
                </c:pt>
                <c:pt idx="8">
                  <c:v>3.5000000000000003E-2</c:v>
                </c:pt>
                <c:pt idx="9">
                  <c:v>2.4E-2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11</c:f>
              <c:strCache>
                <c:ptCount val="10"/>
                <c:pt idx="0">
                  <c:v>Household income of less than $10,000</c:v>
                </c:pt>
                <c:pt idx="1">
                  <c:v>$10,000 to $14,999</c:v>
                </c:pt>
                <c:pt idx="2">
                  <c:v>$15,000 to $24,999</c:v>
                </c:pt>
                <c:pt idx="3">
                  <c:v>$25,000 to $34,999</c:v>
                </c:pt>
                <c:pt idx="4">
                  <c:v>$35,000 to $49,999</c:v>
                </c:pt>
                <c:pt idx="5">
                  <c:v>$50,000 to $74,999</c:v>
                </c:pt>
                <c:pt idx="6">
                  <c:v>$75,000 to $99,999</c:v>
                </c:pt>
                <c:pt idx="7">
                  <c:v>$100,000 to $149,999</c:v>
                </c:pt>
                <c:pt idx="8">
                  <c:v>$150,000 to $199,999</c:v>
                </c:pt>
                <c:pt idx="9">
                  <c:v>$200,000 or more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10199999999999999</c:v>
                </c:pt>
                <c:pt idx="1">
                  <c:v>0.06</c:v>
                </c:pt>
                <c:pt idx="2">
                  <c:v>0.10199999999999999</c:v>
                </c:pt>
                <c:pt idx="3">
                  <c:v>8.6999999999999994E-2</c:v>
                </c:pt>
                <c:pt idx="4">
                  <c:v>0.111</c:v>
                </c:pt>
                <c:pt idx="5">
                  <c:v>0.153</c:v>
                </c:pt>
                <c:pt idx="6">
                  <c:v>0.109</c:v>
                </c:pt>
                <c:pt idx="7">
                  <c:v>0.13100000000000001</c:v>
                </c:pt>
                <c:pt idx="8">
                  <c:v>6.0999999999999999E-2</c:v>
                </c:pt>
                <c:pt idx="9">
                  <c:v>8.3000000000000004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52777777777778"/>
          <c:y val="7.3357871441131942E-2"/>
          <c:w val="0.79861111111111116"/>
          <c:h val="0.5581938597146656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11</c:f>
              <c:strCache>
                <c:ptCount val="10"/>
                <c:pt idx="0">
                  <c:v>Household income of less than $10,000</c:v>
                </c:pt>
                <c:pt idx="1">
                  <c:v>$10,000 to $14,999</c:v>
                </c:pt>
                <c:pt idx="2">
                  <c:v>$15,000 to $24,999</c:v>
                </c:pt>
                <c:pt idx="3">
                  <c:v>$25,000 to $34,999</c:v>
                </c:pt>
                <c:pt idx="4">
                  <c:v>$35,000 to $49,999</c:v>
                </c:pt>
                <c:pt idx="5">
                  <c:v>$50,000 to $74,999</c:v>
                </c:pt>
                <c:pt idx="6">
                  <c:v>$75,000 to $99,999</c:v>
                </c:pt>
                <c:pt idx="7">
                  <c:v>$100,000 to $149,999</c:v>
                </c:pt>
                <c:pt idx="8">
                  <c:v>$150,000 to $199,999</c:v>
                </c:pt>
                <c:pt idx="9">
                  <c:v>$200,000 or more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11</c:v>
                </c:pt>
                <c:pt idx="1">
                  <c:v>6.5000000000000002E-2</c:v>
                </c:pt>
                <c:pt idx="2">
                  <c:v>0.109</c:v>
                </c:pt>
                <c:pt idx="3">
                  <c:v>9.2999999999999999E-2</c:v>
                </c:pt>
                <c:pt idx="4">
                  <c:v>0.11700000000000001</c:v>
                </c:pt>
                <c:pt idx="5">
                  <c:v>0.156</c:v>
                </c:pt>
                <c:pt idx="6">
                  <c:v>0.109</c:v>
                </c:pt>
                <c:pt idx="7">
                  <c:v>0.125</c:v>
                </c:pt>
                <c:pt idx="8">
                  <c:v>5.3999999999999999E-2</c:v>
                </c:pt>
                <c:pt idx="9">
                  <c:v>6.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rooklyn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6</c:f>
              <c:strCache>
                <c:ptCount val="5"/>
                <c:pt idx="0">
                  <c:v>Under 5 years</c:v>
                </c:pt>
                <c:pt idx="1">
                  <c:v>5 t0 19 years</c:v>
                </c:pt>
                <c:pt idx="2">
                  <c:v>20 to 39 years</c:v>
                </c:pt>
                <c:pt idx="3">
                  <c:v>40 to 64 years</c:v>
                </c:pt>
                <c:pt idx="4">
                  <c:v>65 years and over</c:v>
                </c:pt>
              </c:strCache>
            </c:strRef>
          </c:cat>
          <c:val>
            <c:numRef>
              <c:f>Sheet1!$B$2:$B$6</c:f>
              <c:numCache>
                <c:formatCode>0.00%</c:formatCode>
                <c:ptCount val="5"/>
                <c:pt idx="0">
                  <c:v>7.3999999999999996E-2</c:v>
                </c:pt>
                <c:pt idx="1">
                  <c:v>0.18099999999999999</c:v>
                </c:pt>
                <c:pt idx="2">
                  <c:v>0.32500000000000001</c:v>
                </c:pt>
                <c:pt idx="3">
                  <c:v>0.29799999999999999</c:v>
                </c:pt>
                <c:pt idx="4">
                  <c:v>0.1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YC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6</c:f>
              <c:strCache>
                <c:ptCount val="5"/>
                <c:pt idx="0">
                  <c:v>Under 5 years</c:v>
                </c:pt>
                <c:pt idx="1">
                  <c:v>5 t0 19 years</c:v>
                </c:pt>
                <c:pt idx="2">
                  <c:v>20 to 39 years</c:v>
                </c:pt>
                <c:pt idx="3">
                  <c:v>40 to 64 years</c:v>
                </c:pt>
                <c:pt idx="4">
                  <c:v>65 years and over</c:v>
                </c:pt>
              </c:strCache>
            </c:strRef>
          </c:cat>
          <c:val>
            <c:numRef>
              <c:f>Sheet1!$B$2:$B$6</c:f>
              <c:numCache>
                <c:formatCode>0.00%</c:formatCode>
                <c:ptCount val="5"/>
                <c:pt idx="0">
                  <c:v>6.6000000000000003E-2</c:v>
                </c:pt>
                <c:pt idx="1">
                  <c:v>0.17</c:v>
                </c:pt>
                <c:pt idx="2">
                  <c:v>0.32200000000000001</c:v>
                </c:pt>
                <c:pt idx="3">
                  <c:v>0.313</c:v>
                </c:pt>
                <c:pt idx="4">
                  <c:v>0.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560970297172644"/>
          <c:y val="1.6521243112615273E-2"/>
          <c:w val="0.36163288099625845"/>
          <c:h val="0.663489463025945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3</c:f>
              <c:strCache>
                <c:ptCount val="2"/>
                <c:pt idx="0">
                  <c:v>Owner-occupied housing units</c:v>
                </c:pt>
                <c:pt idx="1">
                  <c:v>Renter-occupied housing units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13200000000000001</c:v>
                </c:pt>
                <c:pt idx="1">
                  <c:v>0.867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772284969223329"/>
          <c:y val="3.8836731288549212E-2"/>
          <c:w val="0.1933181041696338"/>
          <c:h val="0.631946341065561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rooklyn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3</c:f>
              <c:strCache>
                <c:ptCount val="2"/>
                <c:pt idx="0">
                  <c:v>Owner-occupied housing units</c:v>
                </c:pt>
                <c:pt idx="1">
                  <c:v>Renter-occupied housing units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27700000000000002</c:v>
                </c:pt>
                <c:pt idx="1">
                  <c:v>0.722999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YC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3</c:f>
              <c:strCache>
                <c:ptCount val="2"/>
                <c:pt idx="0">
                  <c:v>Owner-occupied housing units</c:v>
                </c:pt>
                <c:pt idx="1">
                  <c:v>Renter-occupied housing units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31</c:v>
                </c:pt>
                <c:pt idx="1">
                  <c:v>0.6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4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6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2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11</c:f>
              <c:strCache>
                <c:ptCount val="6"/>
                <c:pt idx="0">
                  <c:v>Spanish or Spanish Creole</c:v>
                </c:pt>
                <c:pt idx="1">
                  <c:v>English only</c:v>
                </c:pt>
                <c:pt idx="2">
                  <c:v>Chinese</c:v>
                </c:pt>
                <c:pt idx="3">
                  <c:v>French Creole</c:v>
                </c:pt>
                <c:pt idx="4">
                  <c:v>French (incl. Patois, Cajun)</c:v>
                </c:pt>
                <c:pt idx="5">
                  <c:v>All Other Languages</c:v>
                </c:pt>
              </c:strCache>
            </c:strRef>
          </c:cat>
          <c:val>
            <c:numRef>
              <c:f>Sheet1!$B$2:$B$11</c:f>
              <c:numCache>
                <c:formatCode>#,##0</c:formatCode>
                <c:ptCount val="10"/>
                <c:pt idx="0">
                  <c:v>69582</c:v>
                </c:pt>
                <c:pt idx="1">
                  <c:v>48927</c:v>
                </c:pt>
                <c:pt idx="2">
                  <c:v>2161</c:v>
                </c:pt>
                <c:pt idx="3" formatCode="General">
                  <c:v>8759</c:v>
                </c:pt>
                <c:pt idx="4" formatCode="General">
                  <c:v>749</c:v>
                </c:pt>
                <c:pt idx="5">
                  <c:v>486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6"/>
        <c:delete val="1"/>
      </c:legendEntry>
      <c:legendEntry>
        <c:idx val="7"/>
        <c:delete val="1"/>
      </c:legendEntry>
      <c:legendEntry>
        <c:idx val="8"/>
        <c:delete val="1"/>
      </c:legendEntry>
      <c:legendEntry>
        <c:idx val="9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560970297172644"/>
          <c:y val="1.6521243112615273E-2"/>
          <c:w val="0.36163288099625845"/>
          <c:h val="0.663489463025945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8</c:f>
              <c:strCache>
                <c:ptCount val="7"/>
                <c:pt idx="0">
                  <c:v>Less than 9th grade</c:v>
                </c:pt>
                <c:pt idx="1">
                  <c:v>9th to 12th grade, no diploma</c:v>
                </c:pt>
                <c:pt idx="2">
                  <c:v>High school graduate (includes equivalency)</c:v>
                </c:pt>
                <c:pt idx="3">
                  <c:v>Some college, no degree</c:v>
                </c:pt>
                <c:pt idx="4">
                  <c:v>Associate's degree</c:v>
                </c:pt>
                <c:pt idx="5">
                  <c:v>Bachelor's degree</c:v>
                </c:pt>
                <c:pt idx="6">
                  <c:v>Graduate or professional degree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7"/>
                <c:pt idx="0">
                  <c:v>0.188</c:v>
                </c:pt>
                <c:pt idx="1">
                  <c:v>0.16</c:v>
                </c:pt>
                <c:pt idx="2">
                  <c:v>0.22800000000000001</c:v>
                </c:pt>
                <c:pt idx="3">
                  <c:v>0.13900000000000001</c:v>
                </c:pt>
                <c:pt idx="4">
                  <c:v>4.8000000000000001E-2</c:v>
                </c:pt>
                <c:pt idx="5">
                  <c:v>0.17899999999999999</c:v>
                </c:pt>
                <c:pt idx="6">
                  <c:v>5.899999999999999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772284969223329"/>
          <c:y val="3.8836731288549212E-2"/>
          <c:w val="0.1933181041696338"/>
          <c:h val="0.631946341065561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rooklyn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8</c:f>
              <c:strCache>
                <c:ptCount val="7"/>
                <c:pt idx="0">
                  <c:v>Less than 9th grade</c:v>
                </c:pt>
                <c:pt idx="1">
                  <c:v>9th to 12th grade, no diploma</c:v>
                </c:pt>
                <c:pt idx="2">
                  <c:v>High school graduate (includes equivalency)</c:v>
                </c:pt>
                <c:pt idx="3">
                  <c:v>Some college, no degree</c:v>
                </c:pt>
                <c:pt idx="4">
                  <c:v>Associate's degree</c:v>
                </c:pt>
                <c:pt idx="5">
                  <c:v>Bachelor's degree</c:v>
                </c:pt>
                <c:pt idx="6">
                  <c:v>Graduate or professional degree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7"/>
                <c:pt idx="0">
                  <c:v>9.9000000000000005E-2</c:v>
                </c:pt>
                <c:pt idx="1">
                  <c:v>0.10100000000000001</c:v>
                </c:pt>
                <c:pt idx="2">
                  <c:v>0.25800000000000001</c:v>
                </c:pt>
                <c:pt idx="3">
                  <c:v>0.13900000000000001</c:v>
                </c:pt>
                <c:pt idx="4">
                  <c:v>6.2E-2</c:v>
                </c:pt>
                <c:pt idx="5">
                  <c:v>0.20699999999999999</c:v>
                </c:pt>
                <c:pt idx="6">
                  <c:v>0.134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43343" cy="467072"/>
          </a:xfrm>
          <a:prstGeom prst="rect">
            <a:avLst/>
          </a:prstGeom>
        </p:spPr>
        <p:txBody>
          <a:bodyPr vert="horz" lIns="93296" tIns="46648" rIns="93296" bIns="4664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4" y="2"/>
            <a:ext cx="3043343" cy="467072"/>
          </a:xfrm>
          <a:prstGeom prst="rect">
            <a:avLst/>
          </a:prstGeom>
        </p:spPr>
        <p:txBody>
          <a:bodyPr vert="horz" lIns="93296" tIns="46648" rIns="93296" bIns="46648" rtlCol="0"/>
          <a:lstStyle>
            <a:lvl1pPr algn="r">
              <a:defRPr sz="1200"/>
            </a:lvl1pPr>
          </a:lstStyle>
          <a:p>
            <a:fld id="{2CD973F8-7566-4122-9CC8-9685979BC576}" type="datetimeFigureOut">
              <a:rPr lang="en-US" smtClean="0"/>
              <a:t>8/2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42033"/>
            <a:ext cx="3043343" cy="467071"/>
          </a:xfrm>
          <a:prstGeom prst="rect">
            <a:avLst/>
          </a:prstGeom>
        </p:spPr>
        <p:txBody>
          <a:bodyPr vert="horz" lIns="93296" tIns="46648" rIns="93296" bIns="4664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4" y="8842033"/>
            <a:ext cx="3043343" cy="467071"/>
          </a:xfrm>
          <a:prstGeom prst="rect">
            <a:avLst/>
          </a:prstGeom>
        </p:spPr>
        <p:txBody>
          <a:bodyPr vert="horz" lIns="93296" tIns="46648" rIns="93296" bIns="46648" rtlCol="0" anchor="b"/>
          <a:lstStyle>
            <a:lvl1pPr algn="r">
              <a:defRPr sz="1200"/>
            </a:lvl1pPr>
          </a:lstStyle>
          <a:p>
            <a:fld id="{2070F437-B8B3-4E3B-803A-1A05227822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0175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43649" cy="466379"/>
          </a:xfrm>
          <a:prstGeom prst="rect">
            <a:avLst/>
          </a:prstGeom>
        </p:spPr>
        <p:txBody>
          <a:bodyPr vert="horz" lIns="88260" tIns="44130" rIns="88260" bIns="4413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30" y="2"/>
            <a:ext cx="3043649" cy="466379"/>
          </a:xfrm>
          <a:prstGeom prst="rect">
            <a:avLst/>
          </a:prstGeom>
        </p:spPr>
        <p:txBody>
          <a:bodyPr vert="horz" lIns="88260" tIns="44130" rIns="88260" bIns="44130" rtlCol="0"/>
          <a:lstStyle>
            <a:lvl1pPr algn="r">
              <a:defRPr sz="1200"/>
            </a:lvl1pPr>
          </a:lstStyle>
          <a:p>
            <a:fld id="{7F1B796E-1581-404B-B98D-7A4145C81CC2}" type="datetimeFigureOut">
              <a:rPr lang="en-US" smtClean="0"/>
              <a:t>8/2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260" tIns="44130" rIns="88260" bIns="4413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618" y="4480621"/>
            <a:ext cx="5617870" cy="3664842"/>
          </a:xfrm>
          <a:prstGeom prst="rect">
            <a:avLst/>
          </a:prstGeom>
        </p:spPr>
        <p:txBody>
          <a:bodyPr vert="horz" lIns="88260" tIns="44130" rIns="88260" bIns="4413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42722"/>
            <a:ext cx="3043649" cy="466378"/>
          </a:xfrm>
          <a:prstGeom prst="rect">
            <a:avLst/>
          </a:prstGeom>
        </p:spPr>
        <p:txBody>
          <a:bodyPr vert="horz" lIns="88260" tIns="44130" rIns="88260" bIns="4413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30" y="8842722"/>
            <a:ext cx="3043649" cy="466378"/>
          </a:xfrm>
          <a:prstGeom prst="rect">
            <a:avLst/>
          </a:prstGeom>
        </p:spPr>
        <p:txBody>
          <a:bodyPr vert="horz" lIns="88260" tIns="44130" rIns="88260" bIns="44130" rtlCol="0" anchor="b"/>
          <a:lstStyle>
            <a:lvl1pPr algn="r">
              <a:defRPr sz="1200"/>
            </a:lvl1pPr>
          </a:lstStyle>
          <a:p>
            <a:fld id="{E8255C88-8FB9-47CA-83E9-75F9EB34F6C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649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139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1546"/>
            <a:ext cx="9144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071815"/>
            <a:ext cx="7772400" cy="1362075"/>
          </a:xfrm>
          <a:noFill/>
        </p:spPr>
        <p:txBody>
          <a:bodyPr anchor="b">
            <a:normAutofit/>
          </a:bodyPr>
          <a:lstStyle>
            <a:lvl1pPr algn="r"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5" y="6107309"/>
            <a:ext cx="1371600" cy="674483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722313" y="4435102"/>
            <a:ext cx="7772400" cy="661985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722313" y="5098477"/>
            <a:ext cx="7772400" cy="66198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0"/>
            <a:ext cx="33528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 dirty="0" smtClean="0">
                <a:solidFill>
                  <a:schemeClr val="bg2"/>
                </a:solidFill>
              </a:rPr>
              <a:t>DRAFT</a:t>
            </a:r>
            <a:endParaRPr lang="en-US" sz="11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630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for Full Ble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0717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5425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1546"/>
            <a:ext cx="9144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5200" y="4186695"/>
            <a:ext cx="4989513" cy="719424"/>
          </a:xfr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algn="r"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5" y="6107309"/>
            <a:ext cx="1371600" cy="674483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3505200" y="4905895"/>
            <a:ext cx="4989513" cy="429768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3505200" y="5334313"/>
            <a:ext cx="4989513" cy="426462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0"/>
            <a:ext cx="33528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 dirty="0" smtClean="0">
                <a:solidFill>
                  <a:schemeClr val="bg2"/>
                </a:solidFill>
              </a:rPr>
              <a:t>DRAFT</a:t>
            </a:r>
            <a:endParaRPr lang="en-US" sz="11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067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0746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9144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4478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OPTIONAL TEX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42502" y="6505344"/>
            <a:ext cx="7487097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705251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2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9144000" cy="826008"/>
          </a:xfrm>
          <a:prstGeom prst="rect">
            <a:avLst/>
          </a:prstGeom>
          <a:noFill/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4478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OPTIONAL TEX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42502" y="6505344"/>
            <a:ext cx="7487097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914400" y="1600200"/>
            <a:ext cx="73152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849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501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9144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823991" y="1600200"/>
            <a:ext cx="5496018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375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0088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890"/>
            <a:ext cx="6096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32004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4478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OPTIONAL TEXT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42502" y="6505344"/>
            <a:ext cx="7487097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sp>
        <p:nvSpPr>
          <p:cNvPr id="23" name="TextBox 22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456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2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890"/>
            <a:ext cx="6096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32004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4478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OPTIONAL TEXT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42502" y="6505344"/>
            <a:ext cx="7487097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914400" y="1219200"/>
            <a:ext cx="73152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917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890"/>
            <a:ext cx="6096000" cy="55067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3200400" cy="55126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823991" y="1600200"/>
            <a:ext cx="5496018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177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1546"/>
            <a:ext cx="9144000" cy="8260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5" y="6107309"/>
            <a:ext cx="1371600" cy="67448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3152089" y="6184146"/>
            <a:ext cx="2839822" cy="533400"/>
          </a:xfrm>
          <a:prstGeom prst="rect">
            <a:avLst/>
          </a:prstGeom>
          <a:noFill/>
          <a:ln w="28575">
            <a:noFill/>
          </a:ln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nyc.gov/planning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828800" y="685800"/>
            <a:ext cx="5486400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2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0"/>
            <a:ext cx="33528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 dirty="0" smtClean="0">
                <a:solidFill>
                  <a:schemeClr val="bg2"/>
                </a:solidFill>
              </a:rPr>
              <a:t>DRAFT</a:t>
            </a:r>
            <a:endParaRPr lang="en-US" sz="11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923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92899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2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4" r:id="rId3"/>
    <p:sldLayoutId id="2147483697" r:id="rId4"/>
    <p:sldLayoutId id="2147483685" r:id="rId5"/>
    <p:sldLayoutId id="2147483690" r:id="rId6"/>
    <p:sldLayoutId id="2147483698" r:id="rId7"/>
    <p:sldLayoutId id="2147483695" r:id="rId8"/>
    <p:sldLayoutId id="2147483696" r:id="rId9"/>
    <p:sldLayoutId id="2147483691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429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143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858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572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0287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0" y="1"/>
            <a:ext cx="8610600" cy="551263"/>
          </a:xfrm>
        </p:spPr>
        <p:txBody>
          <a:bodyPr>
            <a:normAutofit/>
          </a:bodyPr>
          <a:lstStyle/>
          <a:p>
            <a:r>
              <a:rPr lang="en-US" dirty="0" smtClean="0"/>
              <a:t>Neighborhood Demographics: Population and Age  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576664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989937"/>
              </p:ext>
            </p:extLst>
          </p:nvPr>
        </p:nvGraphicFramePr>
        <p:xfrm>
          <a:off x="1371599" y="862782"/>
          <a:ext cx="6400800" cy="5969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1600200"/>
                <a:gridCol w="1600200"/>
                <a:gridCol w="1600200"/>
              </a:tblGrid>
              <a:tr h="292100"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solidFill>
                      <a:schemeClr val="accent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0</a:t>
                      </a:r>
                      <a:endParaRPr lang="en-US" sz="1400" dirty="0"/>
                    </a:p>
                  </a:txBody>
                  <a:tcPr>
                    <a:solidFill>
                      <a:schemeClr val="accent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6</a:t>
                      </a:r>
                      <a:endParaRPr lang="en-US" sz="1400" dirty="0"/>
                    </a:p>
                  </a:txBody>
                  <a:tcPr>
                    <a:solidFill>
                      <a:schemeClr val="accent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% Change</a:t>
                      </a:r>
                      <a:endParaRPr lang="en-US" sz="1400" dirty="0"/>
                    </a:p>
                  </a:txBody>
                  <a:tcPr>
                    <a:solidFill>
                      <a:schemeClr val="accent1">
                        <a:alpha val="40000"/>
                      </a:schemeClr>
                    </a:solidFill>
                  </a:tcPr>
                </a:tc>
              </a:tr>
              <a:tr h="2921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Total</a:t>
                      </a:r>
                      <a:r>
                        <a:rPr lang="en-US" sz="1200" baseline="0" dirty="0" smtClean="0"/>
                        <a:t> Population</a:t>
                      </a:r>
                      <a:endParaRPr lang="en-US" sz="1200" dirty="0"/>
                    </a:p>
                  </a:txBody>
                  <a:tcPr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 </a:t>
                      </a:r>
                      <a:r>
                        <a:rPr lang="en-US" sz="1200" dirty="0" smtClean="0"/>
                        <a:t>129,063</a:t>
                      </a:r>
                      <a:endParaRPr lang="en-US" sz="1200" dirty="0"/>
                    </a:p>
                  </a:txBody>
                  <a:tcPr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35,837</a:t>
                      </a:r>
                      <a:endParaRPr lang="en-US" sz="1200" dirty="0"/>
                    </a:p>
                  </a:txBody>
                  <a:tcPr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5.3%</a:t>
                      </a:r>
                      <a:endParaRPr lang="en-US" sz="1200" dirty="0"/>
                    </a:p>
                  </a:txBody>
                  <a:tcPr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7" name="Rectangle 16"/>
          <p:cNvSpPr/>
          <p:nvPr/>
        </p:nvSpPr>
        <p:spPr>
          <a:xfrm>
            <a:off x="1295399" y="576664"/>
            <a:ext cx="164147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Total Populatio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341223" y="4038600"/>
            <a:ext cx="163057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/>
              <a:t>Age Distribution</a:t>
            </a:r>
            <a:endParaRPr lang="en-US" sz="1600" dirty="0"/>
          </a:p>
        </p:txBody>
      </p:sp>
      <p:graphicFrame>
        <p:nvGraphicFramePr>
          <p:cNvPr id="37" name="Chart 36"/>
          <p:cNvGraphicFramePr/>
          <p:nvPr>
            <p:extLst>
              <p:ext uri="{D42A27DB-BD31-4B8C-83A1-F6EECF244321}">
                <p14:modId xmlns:p14="http://schemas.microsoft.com/office/powerpoint/2010/main" val="1214703134"/>
              </p:ext>
            </p:extLst>
          </p:nvPr>
        </p:nvGraphicFramePr>
        <p:xfrm>
          <a:off x="-1143000" y="1476648"/>
          <a:ext cx="8727553" cy="40093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8" name="Chart 37"/>
          <p:cNvGraphicFramePr/>
          <p:nvPr>
            <p:extLst>
              <p:ext uri="{D42A27DB-BD31-4B8C-83A1-F6EECF244321}">
                <p14:modId xmlns:p14="http://schemas.microsoft.com/office/powerpoint/2010/main" val="1860255681"/>
              </p:ext>
            </p:extLst>
          </p:nvPr>
        </p:nvGraphicFramePr>
        <p:xfrm>
          <a:off x="4724400" y="1641276"/>
          <a:ext cx="2590800" cy="172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9" name="Chart 38"/>
          <p:cNvGraphicFramePr/>
          <p:nvPr>
            <p:extLst>
              <p:ext uri="{D42A27DB-BD31-4B8C-83A1-F6EECF244321}">
                <p14:modId xmlns:p14="http://schemas.microsoft.com/office/powerpoint/2010/main" val="3560408359"/>
              </p:ext>
            </p:extLst>
          </p:nvPr>
        </p:nvGraphicFramePr>
        <p:xfrm>
          <a:off x="6611676" y="1641276"/>
          <a:ext cx="2590800" cy="172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Rectangle 12"/>
          <p:cNvSpPr/>
          <p:nvPr/>
        </p:nvSpPr>
        <p:spPr>
          <a:xfrm>
            <a:off x="2590800" y="6276372"/>
            <a:ext cx="723900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Based on </a:t>
            </a:r>
            <a:r>
              <a:rPr lang="en-US" sz="900" dirty="0" smtClean="0"/>
              <a:t>2006 – 2010 and  2012 </a:t>
            </a:r>
            <a:r>
              <a:rPr lang="en-US" sz="900" dirty="0" smtClean="0"/>
              <a:t>- 2016 ACS data </a:t>
            </a:r>
            <a:r>
              <a:rPr lang="en-US" sz="900" dirty="0"/>
              <a:t>for the Bushwick North (BK77) and  Bushwick South (BK78) neighborhoods</a:t>
            </a: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7419168"/>
              </p:ext>
            </p:extLst>
          </p:nvPr>
        </p:nvGraphicFramePr>
        <p:xfrm>
          <a:off x="1371598" y="4377154"/>
          <a:ext cx="6400802" cy="18902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6619"/>
                <a:gridCol w="787978"/>
                <a:gridCol w="715241"/>
                <a:gridCol w="715241"/>
                <a:gridCol w="715241"/>
                <a:gridCol w="715241"/>
                <a:gridCol w="715241"/>
              </a:tblGrid>
              <a:tr h="292100"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 Study</a:t>
                      </a:r>
                      <a:r>
                        <a:rPr lang="en-US" sz="1400" baseline="0" dirty="0" smtClean="0"/>
                        <a:t> Area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Brooklyn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New</a:t>
                      </a:r>
                      <a:r>
                        <a:rPr lang="en-US" sz="1400" baseline="0" dirty="0" smtClean="0"/>
                        <a:t> York City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048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Median Age (years)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30.6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34.5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35.9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5613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der 5 year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,56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3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3,85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4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5,383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6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25613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t0 19 year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,45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1,04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1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34,06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25613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 to 39 year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,92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6,605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5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727,08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2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25613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to 64 year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,563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.5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7,77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646,100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.3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25613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 years and over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,34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3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7,575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2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99,330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3041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0" y="1"/>
            <a:ext cx="8686800" cy="551263"/>
          </a:xfrm>
        </p:spPr>
        <p:txBody>
          <a:bodyPr>
            <a:normAutofit/>
          </a:bodyPr>
          <a:lstStyle/>
          <a:p>
            <a:r>
              <a:rPr lang="en-US" dirty="0" smtClean="0"/>
              <a:t>Neighborhood Demographics:  Housing and Household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551264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241497" y="4251141"/>
            <a:ext cx="340670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/>
              <a:t>Household Size and Housing Units</a:t>
            </a:r>
            <a:endParaRPr lang="en-US" sz="16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0613047"/>
              </p:ext>
            </p:extLst>
          </p:nvPr>
        </p:nvGraphicFramePr>
        <p:xfrm>
          <a:off x="1371600" y="4555540"/>
          <a:ext cx="6400800" cy="1616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45617"/>
                <a:gridCol w="778978"/>
                <a:gridCol w="715241"/>
                <a:gridCol w="715241"/>
                <a:gridCol w="715241"/>
                <a:gridCol w="715241"/>
                <a:gridCol w="715241"/>
              </a:tblGrid>
              <a:tr h="292100"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 Study</a:t>
                      </a:r>
                      <a:r>
                        <a:rPr lang="en-US" sz="1400" baseline="0" dirty="0" smtClean="0"/>
                        <a:t> Area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Brooklyn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New</a:t>
                      </a:r>
                      <a:r>
                        <a:rPr lang="en-US" sz="1400" baseline="0" dirty="0" smtClean="0"/>
                        <a:t> York City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27965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verage</a:t>
                      </a:r>
                      <a:r>
                        <a:rPr lang="en-US" sz="1200" baseline="0" dirty="0" smtClean="0"/>
                        <a:t> Household Size</a:t>
                      </a:r>
                      <a:endParaRPr lang="en-US" sz="1200" dirty="0"/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 3.00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2.69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2.57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27965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Occupied Housing Units</a:t>
                      </a:r>
                      <a:endParaRPr lang="en-US" sz="1200" dirty="0"/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,51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6,856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109,78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27965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Owner Occupied</a:t>
                      </a:r>
                      <a:r>
                        <a:rPr lang="en-US" sz="1200" baseline="0" dirty="0" smtClean="0"/>
                        <a:t> Units</a:t>
                      </a:r>
                      <a:endParaRPr lang="en-US" sz="1200" dirty="0"/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603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2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4,24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.7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2,892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27965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Renter Occupied Units </a:t>
                      </a:r>
                      <a:endParaRPr lang="en-US" sz="1200" dirty="0"/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,908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6.9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2,615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.3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146,892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611813720"/>
              </p:ext>
            </p:extLst>
          </p:nvPr>
        </p:nvGraphicFramePr>
        <p:xfrm>
          <a:off x="-1143000" y="1476648"/>
          <a:ext cx="8727553" cy="40093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3177022282"/>
              </p:ext>
            </p:extLst>
          </p:nvPr>
        </p:nvGraphicFramePr>
        <p:xfrm>
          <a:off x="4724400" y="1641276"/>
          <a:ext cx="2590800" cy="172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1452987224"/>
              </p:ext>
            </p:extLst>
          </p:nvPr>
        </p:nvGraphicFramePr>
        <p:xfrm>
          <a:off x="6567377" y="1651909"/>
          <a:ext cx="2590800" cy="172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Rectangle 12"/>
          <p:cNvSpPr/>
          <p:nvPr/>
        </p:nvSpPr>
        <p:spPr>
          <a:xfrm>
            <a:off x="3352800" y="6276372"/>
            <a:ext cx="723900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Based on </a:t>
            </a:r>
            <a:r>
              <a:rPr lang="en-US" sz="900" dirty="0" smtClean="0"/>
              <a:t>2012 - 2016 ACS data </a:t>
            </a:r>
            <a:r>
              <a:rPr lang="en-US" sz="900" dirty="0"/>
              <a:t>for the Bushwick North (BK77) and  Bushwick South (BK78) neighborhoods</a:t>
            </a:r>
          </a:p>
        </p:txBody>
      </p:sp>
    </p:spTree>
    <p:extLst>
      <p:ext uri="{BB962C8B-B14F-4D97-AF65-F5344CB8AC3E}">
        <p14:creationId xmlns:p14="http://schemas.microsoft.com/office/powerpoint/2010/main" val="19800035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0" y="0"/>
            <a:ext cx="8897679" cy="551263"/>
          </a:xfrm>
        </p:spPr>
        <p:txBody>
          <a:bodyPr>
            <a:normAutofit/>
          </a:bodyPr>
          <a:lstStyle/>
          <a:p>
            <a:r>
              <a:rPr lang="en-US" dirty="0" smtClean="0"/>
              <a:t>Neighborhood Demographics:  Languages Spoken at Hom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551264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6170294"/>
              </p:ext>
            </p:extLst>
          </p:nvPr>
        </p:nvGraphicFramePr>
        <p:xfrm>
          <a:off x="304800" y="1264924"/>
          <a:ext cx="3628912" cy="34936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7867"/>
                <a:gridCol w="807806"/>
                <a:gridCol w="733239"/>
              </a:tblGrid>
              <a:tr h="43660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Lan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 Study</a:t>
                      </a:r>
                      <a:r>
                        <a:rPr lang="en-US" sz="1200" baseline="0" dirty="0" smtClean="0">
                          <a:latin typeface="+mn-lt"/>
                        </a:rPr>
                        <a:t> Area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367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tion 5 years and over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7,25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.00%</a:t>
                      </a:r>
                    </a:p>
                  </a:txBody>
                  <a:tcPr marL="9525" marR="9525" marT="9525" marB="0" anchor="ctr"/>
                </a:tc>
              </a:tr>
              <a:tr h="4367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panish or Spanish Creol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9,582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.7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367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glish only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8,92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8.5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367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hines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16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.7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367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rench Creol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75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367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rench (incl. Patois, Cajun)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.6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367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ll Other Languages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869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.83%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530956384"/>
              </p:ext>
            </p:extLst>
          </p:nvPr>
        </p:nvGraphicFramePr>
        <p:xfrm>
          <a:off x="3505200" y="832028"/>
          <a:ext cx="6096000" cy="52639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7"/>
          <p:cNvSpPr/>
          <p:nvPr/>
        </p:nvSpPr>
        <p:spPr>
          <a:xfrm>
            <a:off x="3352800" y="6276372"/>
            <a:ext cx="723900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Based on </a:t>
            </a:r>
            <a:r>
              <a:rPr lang="en-US" sz="900" dirty="0" smtClean="0"/>
              <a:t>2011 </a:t>
            </a:r>
            <a:r>
              <a:rPr lang="en-US" sz="900" dirty="0" smtClean="0"/>
              <a:t>- </a:t>
            </a:r>
            <a:r>
              <a:rPr lang="en-US" sz="900" dirty="0" smtClean="0"/>
              <a:t>2015 </a:t>
            </a:r>
            <a:r>
              <a:rPr lang="en-US" sz="900" dirty="0" smtClean="0"/>
              <a:t>ACS data </a:t>
            </a:r>
            <a:r>
              <a:rPr lang="en-US" sz="900" dirty="0"/>
              <a:t>for the Bushwick North (BK77) and  Bushwick South (BK78) neighborhoods</a:t>
            </a:r>
          </a:p>
        </p:txBody>
      </p:sp>
    </p:spTree>
    <p:extLst>
      <p:ext uri="{BB962C8B-B14F-4D97-AF65-F5344CB8AC3E}">
        <p14:creationId xmlns:p14="http://schemas.microsoft.com/office/powerpoint/2010/main" val="38791089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Neighborhood Demographics: Educational Attainmen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0067" y="533400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5995041"/>
              </p:ext>
            </p:extLst>
          </p:nvPr>
        </p:nvGraphicFramePr>
        <p:xfrm>
          <a:off x="685800" y="656525"/>
          <a:ext cx="7696200" cy="28486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791"/>
                <a:gridCol w="947449"/>
                <a:gridCol w="859992"/>
                <a:gridCol w="859992"/>
                <a:gridCol w="859992"/>
                <a:gridCol w="859992"/>
                <a:gridCol w="859992"/>
              </a:tblGrid>
              <a:tr h="264983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 Study</a:t>
                      </a:r>
                      <a:r>
                        <a:rPr lang="en-US" sz="1200" baseline="0" dirty="0" smtClean="0">
                          <a:latin typeface="+mn-lt"/>
                        </a:rPr>
                        <a:t> Area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Brooklyn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New</a:t>
                      </a:r>
                      <a:r>
                        <a:rPr lang="en-US" sz="1200" baseline="0" dirty="0" smtClean="0">
                          <a:latin typeface="+mn-lt"/>
                        </a:rPr>
                        <a:t> York City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214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pulation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 years and over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87,885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1,753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5,851,772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129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ss than 9th grad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47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3,42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9,78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129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th to 12th grade, no diploma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,040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.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7,622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1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4,69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3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625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igh school graduate (includes equivalency)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,068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2,44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02,71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.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129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me college, no degre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17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3,48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9,20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2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129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sociate's degre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20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9,028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2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5,85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4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129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chelor's degre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,74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2,65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7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46,538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3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129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aduate or professional degre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17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5,026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4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72,98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153048892"/>
              </p:ext>
            </p:extLst>
          </p:nvPr>
        </p:nvGraphicFramePr>
        <p:xfrm>
          <a:off x="-1143000" y="3480391"/>
          <a:ext cx="8727553" cy="40093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2059784952"/>
              </p:ext>
            </p:extLst>
          </p:nvPr>
        </p:nvGraphicFramePr>
        <p:xfrm>
          <a:off x="4724400" y="3673867"/>
          <a:ext cx="2590800" cy="172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val="1180749968"/>
              </p:ext>
            </p:extLst>
          </p:nvPr>
        </p:nvGraphicFramePr>
        <p:xfrm>
          <a:off x="6611676" y="3673867"/>
          <a:ext cx="2590800" cy="172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Rectangle 9"/>
          <p:cNvSpPr/>
          <p:nvPr/>
        </p:nvSpPr>
        <p:spPr>
          <a:xfrm>
            <a:off x="3352800" y="6276372"/>
            <a:ext cx="723900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Based on </a:t>
            </a:r>
            <a:r>
              <a:rPr lang="en-US" sz="900" dirty="0" smtClean="0"/>
              <a:t>2012 - 2016 ACS data </a:t>
            </a:r>
            <a:r>
              <a:rPr lang="en-US" sz="900" dirty="0"/>
              <a:t>for the Bushwick North (BK77) and  Bushwick South (BK78) neighborhoods</a:t>
            </a:r>
          </a:p>
        </p:txBody>
      </p:sp>
    </p:spTree>
    <p:extLst>
      <p:ext uri="{BB962C8B-B14F-4D97-AF65-F5344CB8AC3E}">
        <p14:creationId xmlns:p14="http://schemas.microsoft.com/office/powerpoint/2010/main" val="2078713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Neighborhood Demographics:  Workers by </a:t>
            </a:r>
            <a:r>
              <a:rPr lang="en-US" dirty="0" smtClean="0"/>
              <a:t>Industry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551264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00599" y="6096016"/>
            <a:ext cx="41910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Based on </a:t>
            </a:r>
            <a:r>
              <a:rPr lang="en-US" sz="900" dirty="0" smtClean="0"/>
              <a:t>2012 - 2016 ACS data </a:t>
            </a:r>
            <a:r>
              <a:rPr lang="en-US" sz="900" dirty="0"/>
              <a:t>for the Bushwick North (BK77) and  Bushwick South (BK78) neighborhoods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0403568"/>
              </p:ext>
            </p:extLst>
          </p:nvPr>
        </p:nvGraphicFramePr>
        <p:xfrm>
          <a:off x="228599" y="672941"/>
          <a:ext cx="4536439" cy="57440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"/>
                <a:gridCol w="2620766"/>
                <a:gridCol w="843536"/>
                <a:gridCol w="843536"/>
              </a:tblGrid>
              <a:tr h="317659">
                <a:tc gridSpan="2"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 Study</a:t>
                      </a:r>
                      <a:r>
                        <a:rPr lang="en-US" sz="1200" baseline="0" dirty="0" smtClean="0">
                          <a:latin typeface="+mn-lt"/>
                        </a:rPr>
                        <a:t> Area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94184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ivilian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mployed population 16 years and over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6,122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.00%</a:t>
                      </a:r>
                    </a:p>
                  </a:txBody>
                  <a:tcPr marL="9525" marR="9525" marT="9525" marB="0" anchor="ctr"/>
                </a:tc>
              </a:tr>
              <a:tr h="394184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1352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ducational services, and health care and social assistanc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,750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94184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rts, entertainment, and recreation, and accommodation, and food service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,127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.3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94184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etail trad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,322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.6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540673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fessional, scientific, and management, and administrative and waste management service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,241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.5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94184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DB691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nstruction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,448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.2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94184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ther services, except public administration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928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.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94184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B314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ransportation and warehousing, and utilitie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477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.3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94184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06A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formation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356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.1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15394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58882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nufacturing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142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63524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973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ance and insurance, and real estate and rental and leasing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104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.7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186375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833F1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ublic administration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607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4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186375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431D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holesale trad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404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1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63524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1D7DB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griculture, forestry, fishing and hunting, and mining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6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3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2666973854"/>
              </p:ext>
            </p:extLst>
          </p:nvPr>
        </p:nvGraphicFramePr>
        <p:xfrm>
          <a:off x="4983891" y="656562"/>
          <a:ext cx="3941256" cy="41731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hart 13"/>
          <p:cNvGraphicFramePr/>
          <p:nvPr>
            <p:extLst>
              <p:ext uri="{D42A27DB-BD31-4B8C-83A1-F6EECF244321}">
                <p14:modId xmlns:p14="http://schemas.microsoft.com/office/powerpoint/2010/main" val="485150619"/>
              </p:ext>
            </p:extLst>
          </p:nvPr>
        </p:nvGraphicFramePr>
        <p:xfrm>
          <a:off x="5125719" y="4064016"/>
          <a:ext cx="3657600" cy="203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75517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Neighborhood Demographics:  Incom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551264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5079078"/>
              </p:ext>
            </p:extLst>
          </p:nvPr>
        </p:nvGraphicFramePr>
        <p:xfrm>
          <a:off x="228602" y="672941"/>
          <a:ext cx="3733798" cy="53035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598"/>
                <a:gridCol w="1999556"/>
                <a:gridCol w="752822"/>
                <a:gridCol w="752822"/>
              </a:tblGrid>
              <a:tr h="407963">
                <a:tc gridSpan="2"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 Study</a:t>
                      </a:r>
                      <a:r>
                        <a:rPr lang="en-US" sz="1200" baseline="0" dirty="0" smtClean="0">
                          <a:latin typeface="+mn-lt"/>
                        </a:rPr>
                        <a:t> Area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07963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household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6,122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07963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13527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usehold income of less than $10,000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45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2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07963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10,000 to $14,99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43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07963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15,000 to $24,99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2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4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07963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25,000 to $34,99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86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07963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DB691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35,000 to $49,99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1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07963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50,000 to $74,99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48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5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07963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B314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75,000 to $99,99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7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07963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06A9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100,000 to $149,99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73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6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07963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58882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150,000 to $199,99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90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07963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9973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200,000 or mor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10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07963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an household income (dollars) 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,60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152400" y="6029655"/>
            <a:ext cx="41910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Based on </a:t>
            </a:r>
            <a:r>
              <a:rPr lang="en-US" sz="900" dirty="0" smtClean="0"/>
              <a:t>2012 - 2016 ACS data </a:t>
            </a:r>
            <a:r>
              <a:rPr lang="en-US" sz="900" dirty="0"/>
              <a:t>for the Bushwick North (BK77) and  Bushwick South (BK78) neighborhoods</a:t>
            </a: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3778691600"/>
              </p:ext>
            </p:extLst>
          </p:nvPr>
        </p:nvGraphicFramePr>
        <p:xfrm>
          <a:off x="4800600" y="609402"/>
          <a:ext cx="3941256" cy="41731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842088881"/>
              </p:ext>
            </p:extLst>
          </p:nvPr>
        </p:nvGraphicFramePr>
        <p:xfrm>
          <a:off x="6340074" y="4285676"/>
          <a:ext cx="3128218" cy="1731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412504750"/>
              </p:ext>
            </p:extLst>
          </p:nvPr>
        </p:nvGraphicFramePr>
        <p:xfrm>
          <a:off x="3819747" y="4360638"/>
          <a:ext cx="3047999" cy="2242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978221" y="5976460"/>
            <a:ext cx="8819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rookly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741222" y="5990500"/>
            <a:ext cx="5645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YC</a:t>
            </a:r>
          </a:p>
        </p:txBody>
      </p:sp>
    </p:spTree>
    <p:extLst>
      <p:ext uri="{BB962C8B-B14F-4D97-AF65-F5344CB8AC3E}">
        <p14:creationId xmlns:p14="http://schemas.microsoft.com/office/powerpoint/2010/main" val="255221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7.14469714221855940000E+000&quot;&gt;&lt;m_msothmcolidx val=&quot;0&quot;/&gt;&lt;m_rgb r=&quot;C0&quot; g=&quot;50&quot; b=&quot;46&quot;/&gt;&lt;m_nBrightness val=&quot;0&quot;/&gt;&lt;/elem&gt;&lt;elem m_fUsage=&quot;1.64989952002909560000E+000&quot;&gt;&lt;m_msothmcolidx val=&quot;0&quot;/&gt;&lt;m_rgb r=&quot;FF&quot; g=&quot;C0&quot; b=&quot;00&quot;/&gt;&lt;m_nBrightness val=&quot;0&quot;/&gt;&lt;/elem&gt;&lt;elem m_fUsage=&quot;1.18005658274236520000E+000&quot;&gt;&lt;m_msothmcolidx val=&quot;0&quot;/&gt;&lt;m_rgb r=&quot;70&quot; g=&quot;AD&quot; b=&quot;47&quot;/&gt;&lt;m_nBrightness val=&quot;0&quot;/&gt;&lt;/elem&gt;&lt;elem m_fUsage=&quot;1.59849711762873640000E-002&quot;&gt;&lt;m_msothmcolidx val=&quot;0&quot;/&gt;&lt;m_rgb r=&quot;4F&quot; g=&quot;62&quot; b=&quot;28&quot;/&gt;&lt;m_nBrightness val=&quot;0&quot;/&gt;&lt;/elem&gt;&lt;elem m_fUsage=&quot;8.42132274670922760000E-003&quot;&gt;&lt;m_msothmcolidx val=&quot;0&quot;/&gt;&lt;m_rgb r=&quot;C0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MEKKOFORMATS" val="&lt;MekkoFormats&gt;&lt;NumberFormat DecimalSeparator=&quot;.&quot; ThousandSeparator=&quot;,&quot; NegativeNumberFormat=&quot;1&quot; /&gt;&lt;Font&gt;&lt;Output_Font_Name Default=&quot;Verdana&quot; UsePPTTheme=&quot;True&quot; /&gt;&lt;/Font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P PPT Template (Letter)">
  <a:themeElements>
    <a:clrScheme name="DCP Color Palette">
      <a:dk1>
        <a:srgbClr val="000000"/>
      </a:dk1>
      <a:lt1>
        <a:sysClr val="window" lastClr="FFFFFF"/>
      </a:lt1>
      <a:dk2>
        <a:srgbClr val="EDA471"/>
      </a:dk2>
      <a:lt2>
        <a:srgbClr val="EB212F"/>
      </a:lt2>
      <a:accent1>
        <a:srgbClr val="13527B"/>
      </a:accent1>
      <a:accent2>
        <a:srgbClr val="00B0F0"/>
      </a:accent2>
      <a:accent3>
        <a:srgbClr val="92D050"/>
      </a:accent3>
      <a:accent4>
        <a:srgbClr val="FFC000"/>
      </a:accent4>
      <a:accent5>
        <a:srgbClr val="DB691B"/>
      </a:accent5>
      <a:accent6>
        <a:srgbClr val="7030A0"/>
      </a:accent6>
      <a:hlink>
        <a:srgbClr val="1B83CB"/>
      </a:hlink>
      <a:folHlink>
        <a:srgbClr val="C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P PowerPoint Template_Letter_vTested" id="{7EAD8072-8799-4D6B-A95F-0C925DE47716}" vid="{D8401CD1-AFB0-4FD9-BC64-2626DEEF223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94</TotalTime>
  <Words>710</Words>
  <Application>Microsoft Office PowerPoint</Application>
  <PresentationFormat>Letter Paper (8.5x11 in)</PresentationFormat>
  <Paragraphs>268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DCP PPT Template (Letter)</vt:lpstr>
      <vt:lpstr>think-cell Slide</vt:lpstr>
      <vt:lpstr>Neighborhood Demographics: Population and Age  </vt:lpstr>
      <vt:lpstr>Neighborhood Demographics:  Housing and Households</vt:lpstr>
      <vt:lpstr>Neighborhood Demographics:  Languages Spoken at Home</vt:lpstr>
      <vt:lpstr>Neighborhood Demographics: Educational Attainment</vt:lpstr>
      <vt:lpstr>Neighborhood Demographics:  Workers by Industry</vt:lpstr>
      <vt:lpstr>Neighborhood Demographics:  Income</vt:lpstr>
    </vt:vector>
  </TitlesOfParts>
  <Company>DC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ighborhood Demographics</dc:title>
  <dc:creator>Thomas Smith</dc:creator>
  <cp:lastModifiedBy>Thomas Smith</cp:lastModifiedBy>
  <cp:revision>51</cp:revision>
  <cp:lastPrinted>2016-07-11T19:16:06Z</cp:lastPrinted>
  <dcterms:created xsi:type="dcterms:W3CDTF">2018-08-14T17:31:44Z</dcterms:created>
  <dcterms:modified xsi:type="dcterms:W3CDTF">2018-08-28T17:39:37Z</dcterms:modified>
</cp:coreProperties>
</file>